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0-482E-BF90-BC3B6B5D5E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0-482E-BF90-BC3B6B5D5E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60-482E-BF90-BC3B6B5D5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3673135"/>
        <c:axId val="323673615"/>
      </c:areaChart>
      <c:catAx>
        <c:axId val="323673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615"/>
        <c:crosses val="autoZero"/>
        <c:auto val="1"/>
        <c:lblAlgn val="ctr"/>
        <c:lblOffset val="100"/>
        <c:noMultiLvlLbl val="0"/>
      </c:catAx>
      <c:valAx>
        <c:axId val="32367361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13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838A5-784A-BB86-1310-AB33BA695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6627387-5155-0ED0-B78C-E86C419F8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27387-5155-0ED0-B78C-E86C419F8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1F7CDD85-FA9C-5530-B0BB-6AD1DE90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rea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072FEC-3B84-7051-BE8D-A94020C96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8094AEA-A1AC-A069-28CA-2069F5A4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A087899-F99F-A6E2-EFA5-C23829B838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0" name="Chart Placeholder 9">
            <a:extLst>
              <a:ext uri="{FF2B5EF4-FFF2-40B4-BE49-F238E27FC236}">
                <a16:creationId xmlns:a16="http://schemas.microsoft.com/office/drawing/2014/main" id="{13731046-D53F-471D-68E1-FFC2EAAE7F22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34476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Area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6</cp:revision>
  <dcterms:created xsi:type="dcterms:W3CDTF">2025-07-09T10:57:17Z</dcterms:created>
  <dcterms:modified xsi:type="dcterms:W3CDTF">2025-10-22T09:48:28Z</dcterms:modified>
  <cp:category/>
</cp:coreProperties>
</file>